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"/>
  </p:notesMasterIdLst>
  <p:sldIdLst>
    <p:sldId id="256" r:id="rId2"/>
    <p:sldId id="3406" r:id="rId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EC99B"/>
    <a:srgbClr val="8B39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5928"/>
  </p:normalViewPr>
  <p:slideViewPr>
    <p:cSldViewPr snapToGrid="0" snapToObjects="1">
      <p:cViewPr varScale="1">
        <p:scale>
          <a:sx n="90" d="100"/>
          <a:sy n="90" d="100"/>
        </p:scale>
        <p:origin x="232" y="7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0E7A8E-F233-FA46-963D-3EEDA0AEA241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E41610-6C7D-584D-A0B5-38C19DC680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156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C1731-736A-724A-B628-05715B286AA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9741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649FBB-2ABC-454C-8357-1BF95C2E7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884D72C-492D-FC4E-8CA9-3D6DE9A9D7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9C7517-8781-7E4B-8CD6-090FA42ED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E45FAA-2527-2C44-BF0E-698C844414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4192B0-3917-944C-8F50-84DFB426B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9239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87D820-39CC-9F46-B44C-AD1EA5E2A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EEC42A0-F804-7849-9DDF-EA7934C501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8C8A83-3D83-7149-B5ED-D0761D69C1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D41DA4-47AC-BF48-81C1-E3F1B1392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82A62B-1FD0-0E42-9475-9A5A3C33F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92503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63E33D5A-F1D2-F841-8677-CF5827D49E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191FD1B-083B-6E4C-A888-16E8838DBC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F8881EC-E87C-2C48-90EA-40038FDA18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9CF3F6C-0D34-9B47-BA87-A75685850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8A587D0-7373-C44F-AE56-D6CCFF774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19437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48E1BB13-C80F-46C8-9509-0380C28BFD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336000" y="1989000"/>
            <a:ext cx="11232000" cy="3744000"/>
          </a:xfrm>
        </p:spPr>
        <p:txBody>
          <a:bodyPr lIns="144000"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8056A89-76A1-4EEB-91E5-C31CCDAEB2A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lIns="144000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AD727D9-F239-4D7D-BBB5-38B8E508FF4D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8472BF3E-8141-4244-A10B-A397B4B47B32}" type="datetime1">
              <a:rPr lang="de-DE" smtClean="0"/>
              <a:t>17.11.23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F215B8F-5AEC-457F-BA9A-256F52A5EA8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de-DE" dirty="0"/>
              <a:t>TITEL DER PRÄSENTATION | TITEL VORNAME NA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D453873-89E3-43AE-9601-C5DA486266E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09E9C37E-8A19-4E30-BE2B-5A966AD23C7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5098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3">
          <p15:clr>
            <a:srgbClr val="F26B43"/>
          </p15:clr>
        </p15:guide>
        <p15:guide id="2" orient="horz" pos="482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4A8E6B-F741-0442-8C39-FDAEBE5E9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E0EE4C-E787-B744-B419-4B2FD0E610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AAB550-FB72-774D-A3E4-5B6DF8848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4AD0618-E6D8-4A4B-8395-D40293A9D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145DB8-25C5-BC43-993E-7DC38F21E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001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540BF1-A75A-FB49-B6A1-0861EF8CC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3286F45-1305-8E43-B2D5-354317B6E9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EF77C19-0837-0D42-B929-2D19AB355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611A02F-EDE0-5C4E-B865-7D433E7DA6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D9EB7-CF35-D64D-B53B-3FC6EACAB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9849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F32CCE-5FF6-EA4B-8CA8-00426AE95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A4D2E1-E2DE-B546-ACE5-34C6C13A35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E51BF1E-9802-1643-AC54-A4FF0C8531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0C31A6F-31BF-A043-B535-BE6978600B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84F0957-087F-1145-A4BE-0162BE8B18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1332DC-F280-3246-9E65-318F0ECA41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66491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4C8BB-4930-6C45-A660-67A4BE9D6F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E37055E-3FB6-5F4F-84E8-B22F2C6816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38D3A44-CB50-E646-9C64-EAFC8EB56A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C72AEFC-BC61-2E49-B5B5-0573FBADD1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18C0F57-A5C6-B346-BEAA-1D27508558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87D1CD9-DC29-FB46-B87E-3DDB22F1C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1A43BD8-C575-7347-8E86-0D7CB6CD1C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90C1FE2-5CD1-974E-885F-C667FDB5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636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A01C8C-6EFB-3B43-9343-803ABC39E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C9189D5-5CFB-3F45-A011-F6A5FD508E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2CB2F0-83D0-5447-95C6-FB7839CBA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0C7E0B2-7C32-E546-ACF6-4CFCB5699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7961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88DBFEA-A8A4-BB4E-ADFC-3B038A94A4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8E5697C-FF78-1E49-B38A-1D23C41E1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019567-883E-A647-BB5F-481838369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74631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0BE0BB-BC73-6141-AF08-5D2C55DD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8CAC6AD-4382-D742-AD72-0C0FCA4877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D4F397-71C5-1143-9D21-DFB3F923B0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98DCA47-CF8B-DF4B-BE6F-924AF84DCF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89934DB-E92B-6E4D-A797-6957FF126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42A59AB-52A4-684B-9138-6060539AE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630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60D185-F38C-044D-83F1-265331907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2351379-2598-8047-9209-745753F6258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9A320DB-1093-3143-A46A-65AAFD5A43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634AFA4-E7ED-234F-8F07-A40F9507FC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FEB80AA-8053-6647-AD12-670D0DF03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6475E8D-484E-0842-8F69-06136DF2F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1105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98BC937-1601-BC4A-BCC0-A7F3D7A36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949C93-6084-D54D-BDF2-E56C6DC570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3A902B-5CAC-694A-B6EA-1871A4832F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20769-E4B7-1D4E-A13F-ED9E9A984E73}" type="datetimeFigureOut">
              <a:rPr lang="de-DE" smtClean="0"/>
              <a:t>17.11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4D8940E-E261-634D-88BA-837617B600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3C90FBA-88F9-1E46-9E76-F8C7AE09F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73D7CE-8AF1-3744-B7D9-F3176AA733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928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iff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emf"/><Relationship Id="rId12" Type="http://schemas.openxmlformats.org/officeDocument/2006/relationships/image" Target="../media/image8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em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50BA80C7-A00C-0D4B-963D-51469254A7C3}"/>
              </a:ext>
            </a:extLst>
          </p:cNvPr>
          <p:cNvCxnSpPr/>
          <p:nvPr/>
        </p:nvCxnSpPr>
        <p:spPr>
          <a:xfrm>
            <a:off x="8874369" y="1828800"/>
            <a:ext cx="0" cy="35169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08AB6FAD-3386-AB4E-8689-4E549B4A4316}"/>
              </a:ext>
            </a:extLst>
          </p:cNvPr>
          <p:cNvCxnSpPr>
            <a:cxnSpLocks/>
          </p:cNvCxnSpPr>
          <p:nvPr/>
        </p:nvCxnSpPr>
        <p:spPr>
          <a:xfrm>
            <a:off x="8639908" y="1828800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354825E-C956-C942-8F08-10C6247E2E74}"/>
              </a:ext>
            </a:extLst>
          </p:cNvPr>
          <p:cNvCxnSpPr>
            <a:cxnSpLocks/>
          </p:cNvCxnSpPr>
          <p:nvPr/>
        </p:nvCxnSpPr>
        <p:spPr>
          <a:xfrm>
            <a:off x="8639908" y="2051539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49DA7F2B-4D5E-F84D-B677-F690A54F76A0}"/>
              </a:ext>
            </a:extLst>
          </p:cNvPr>
          <p:cNvCxnSpPr>
            <a:cxnSpLocks/>
          </p:cNvCxnSpPr>
          <p:nvPr/>
        </p:nvCxnSpPr>
        <p:spPr>
          <a:xfrm>
            <a:off x="8628185" y="2297723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EAF96700-001D-8641-B21F-BDF3809E9E71}"/>
              </a:ext>
            </a:extLst>
          </p:cNvPr>
          <p:cNvCxnSpPr>
            <a:cxnSpLocks/>
          </p:cNvCxnSpPr>
          <p:nvPr/>
        </p:nvCxnSpPr>
        <p:spPr>
          <a:xfrm>
            <a:off x="8628185" y="2520462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ABC37D99-00CE-F343-957D-102A3105C9E1}"/>
              </a:ext>
            </a:extLst>
          </p:cNvPr>
          <p:cNvCxnSpPr>
            <a:cxnSpLocks/>
          </p:cNvCxnSpPr>
          <p:nvPr/>
        </p:nvCxnSpPr>
        <p:spPr>
          <a:xfrm>
            <a:off x="8639908" y="2766646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C5854E75-650F-944D-BF00-E2AC78194FAF}"/>
              </a:ext>
            </a:extLst>
          </p:cNvPr>
          <p:cNvCxnSpPr>
            <a:cxnSpLocks/>
          </p:cNvCxnSpPr>
          <p:nvPr/>
        </p:nvCxnSpPr>
        <p:spPr>
          <a:xfrm>
            <a:off x="8639908" y="2989385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DE1C32AC-6940-6842-97AF-6458286421C1}"/>
              </a:ext>
            </a:extLst>
          </p:cNvPr>
          <p:cNvCxnSpPr>
            <a:cxnSpLocks/>
          </p:cNvCxnSpPr>
          <p:nvPr/>
        </p:nvCxnSpPr>
        <p:spPr>
          <a:xfrm>
            <a:off x="8628185" y="3235569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EB21B00C-8529-8E40-9091-4CDBE2AC4EC8}"/>
              </a:ext>
            </a:extLst>
          </p:cNvPr>
          <p:cNvCxnSpPr>
            <a:cxnSpLocks/>
          </p:cNvCxnSpPr>
          <p:nvPr/>
        </p:nvCxnSpPr>
        <p:spPr>
          <a:xfrm>
            <a:off x="8628185" y="3458308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20E8D2BE-DB6A-184B-9B30-21577BF63377}"/>
              </a:ext>
            </a:extLst>
          </p:cNvPr>
          <p:cNvCxnSpPr>
            <a:cxnSpLocks/>
          </p:cNvCxnSpPr>
          <p:nvPr/>
        </p:nvCxnSpPr>
        <p:spPr>
          <a:xfrm>
            <a:off x="8639908" y="3692769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76A40EA7-8E5B-DE48-B56E-7D8E85BBEE7E}"/>
              </a:ext>
            </a:extLst>
          </p:cNvPr>
          <p:cNvCxnSpPr>
            <a:cxnSpLocks/>
          </p:cNvCxnSpPr>
          <p:nvPr/>
        </p:nvCxnSpPr>
        <p:spPr>
          <a:xfrm>
            <a:off x="8639908" y="3915508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27FD858F-747F-6746-8B3B-C170B13BFC2A}"/>
              </a:ext>
            </a:extLst>
          </p:cNvPr>
          <p:cNvCxnSpPr>
            <a:cxnSpLocks/>
          </p:cNvCxnSpPr>
          <p:nvPr/>
        </p:nvCxnSpPr>
        <p:spPr>
          <a:xfrm>
            <a:off x="8628185" y="4161692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46546C35-54A9-3547-818D-FAE112F8B623}"/>
              </a:ext>
            </a:extLst>
          </p:cNvPr>
          <p:cNvCxnSpPr>
            <a:cxnSpLocks/>
          </p:cNvCxnSpPr>
          <p:nvPr/>
        </p:nvCxnSpPr>
        <p:spPr>
          <a:xfrm>
            <a:off x="8628185" y="4384431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05D673A2-A03F-264D-9482-54D797BE658D}"/>
              </a:ext>
            </a:extLst>
          </p:cNvPr>
          <p:cNvCxnSpPr>
            <a:cxnSpLocks/>
          </p:cNvCxnSpPr>
          <p:nvPr/>
        </p:nvCxnSpPr>
        <p:spPr>
          <a:xfrm>
            <a:off x="8639908" y="4654061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892942B7-36A8-BF4D-BCC9-A65AF53C1290}"/>
              </a:ext>
            </a:extLst>
          </p:cNvPr>
          <p:cNvCxnSpPr>
            <a:cxnSpLocks/>
          </p:cNvCxnSpPr>
          <p:nvPr/>
        </p:nvCxnSpPr>
        <p:spPr>
          <a:xfrm>
            <a:off x="8639908" y="4876800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67F746BF-C0EE-E94E-99B1-47AC534C5816}"/>
              </a:ext>
            </a:extLst>
          </p:cNvPr>
          <p:cNvCxnSpPr>
            <a:cxnSpLocks/>
          </p:cNvCxnSpPr>
          <p:nvPr/>
        </p:nvCxnSpPr>
        <p:spPr>
          <a:xfrm>
            <a:off x="8628185" y="5122984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7BC0B2FA-2215-5545-B33B-7F5019DED32F}"/>
              </a:ext>
            </a:extLst>
          </p:cNvPr>
          <p:cNvCxnSpPr>
            <a:cxnSpLocks/>
          </p:cNvCxnSpPr>
          <p:nvPr/>
        </p:nvCxnSpPr>
        <p:spPr>
          <a:xfrm>
            <a:off x="8628185" y="5345723"/>
            <a:ext cx="2461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F0055C74-C2FC-8343-B8FA-B307CEBFE25C}"/>
                  </a:ext>
                </a:extLst>
              </p:cNvPr>
              <p:cNvSpPr txBox="1"/>
              <p:nvPr/>
            </p:nvSpPr>
            <p:spPr>
              <a:xfrm>
                <a:off x="8520113" y="2973832"/>
                <a:ext cx="3080212" cy="10530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ctrlPr>
                            <a:rPr lang="de-DE" sz="2400" b="1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2400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  <m:sup>
                          <m:r>
                            <a:rPr lang="de-DE" sz="2400" b="1" i="1" smtClean="0">
                              <a:latin typeface="Cambria Math" panose="02040503050406030204" pitchFamily="18" charset="0"/>
                            </a:rPr>
                            <m:t>𝒌</m:t>
                          </m:r>
                        </m:sup>
                        <m:e>
                          <m:sSub>
                            <m:sSubPr>
                              <m:ctrlPr>
                                <a:rPr lang="de-DE" sz="24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400" b="1" i="1" smtClean="0">
                                  <a:latin typeface="Cambria Math" panose="02040503050406030204" pitchFamily="18" charset="0"/>
                                </a:rPr>
                                <m:t>𝑺𝒚𝒎𝒑𝒕𝒐𝒎</m:t>
                              </m:r>
                            </m:e>
                            <m:sub>
                              <m:r>
                                <a:rPr lang="de-DE" sz="2400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sz="2400" b="1" dirty="0"/>
              </a:p>
            </p:txBody>
          </p:sp>
        </mc:Choice>
        <mc:Fallback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F0055C74-C2FC-8343-B8FA-B307CEBFE2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20113" y="2973832"/>
                <a:ext cx="3080212" cy="1053045"/>
              </a:xfrm>
              <a:prstGeom prst="rect">
                <a:avLst/>
              </a:prstGeom>
              <a:blipFill>
                <a:blip r:embed="rId2"/>
                <a:stretch>
                  <a:fillRect l="-19753" t="-110714" b="-1726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17801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8BCFD33-1768-4590-801B-B7B0C2BD8C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5" imgW="359" imgH="358" progId="TCLayout.ActiveDocument.1">
                  <p:embed/>
                </p:oleObj>
              </mc:Choice>
              <mc:Fallback>
                <p:oleObj name="think-cell Folie" r:id="rId5" imgW="359" imgH="35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8BCFD33-1768-4590-801B-B7B0C2BD8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080E4028-CCAD-EF4B-B489-C66514C2A2B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" r="10658"/>
          <a:stretch/>
        </p:blipFill>
        <p:spPr>
          <a:xfrm>
            <a:off x="17072" y="3850963"/>
            <a:ext cx="7772400" cy="295783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8539972-691D-164B-BBB7-29E557B2DC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89472" y="4151634"/>
            <a:ext cx="744537" cy="744537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2F12C18-2BB8-6944-9F8A-D5E8266E21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25350" y="4954910"/>
            <a:ext cx="672780" cy="67278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8562AA6E-C7EB-1A47-8E6E-E75FEE835F18}"/>
              </a:ext>
            </a:extLst>
          </p:cNvPr>
          <p:cNvSpPr/>
          <p:nvPr/>
        </p:nvSpPr>
        <p:spPr>
          <a:xfrm>
            <a:off x="7543800" y="6215070"/>
            <a:ext cx="393060" cy="257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F335A9FF-5A36-6E43-9180-059FA8924A1F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l="89298" t="31280" r="3311" b="20416"/>
          <a:stretch/>
        </p:blipFill>
        <p:spPr>
          <a:xfrm>
            <a:off x="11094647" y="4896171"/>
            <a:ext cx="642937" cy="1428750"/>
          </a:xfrm>
          <a:prstGeom prst="rect">
            <a:avLst/>
          </a:prstGeom>
        </p:spPr>
      </p:pic>
      <p:pic>
        <p:nvPicPr>
          <p:cNvPr id="149" name="Grafik 148">
            <a:extLst>
              <a:ext uri="{FF2B5EF4-FFF2-40B4-BE49-F238E27FC236}">
                <a16:creationId xmlns:a16="http://schemas.microsoft.com/office/drawing/2014/main" id="{60B53755-23E7-7B42-9C37-1969D4FB3799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duotone>
              <a:prstClr val="black"/>
              <a:srgbClr val="FF0000">
                <a:tint val="45000"/>
                <a:satMod val="400000"/>
              </a:srgbClr>
            </a:duotone>
          </a:blip>
          <a:srcRect l="89298" t="31280" r="3311" b="20416"/>
          <a:stretch/>
        </p:blipFill>
        <p:spPr>
          <a:xfrm>
            <a:off x="10566809" y="4896171"/>
            <a:ext cx="642937" cy="1428750"/>
          </a:xfrm>
          <a:prstGeom prst="rect">
            <a:avLst/>
          </a:prstGeom>
        </p:spPr>
      </p:pic>
      <p:sp>
        <p:nvSpPr>
          <p:cNvPr id="151" name="Rechteck 150">
            <a:extLst>
              <a:ext uri="{FF2B5EF4-FFF2-40B4-BE49-F238E27FC236}">
                <a16:creationId xmlns:a16="http://schemas.microsoft.com/office/drawing/2014/main" id="{71ED7434-2ABE-9942-B3C9-3D4299EC5763}"/>
              </a:ext>
            </a:extLst>
          </p:cNvPr>
          <p:cNvSpPr/>
          <p:nvPr/>
        </p:nvSpPr>
        <p:spPr>
          <a:xfrm>
            <a:off x="10256995" y="6354768"/>
            <a:ext cx="393060" cy="257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C42DED4-83EC-9740-9E98-1BBBA5ABF7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73770" y="5699130"/>
            <a:ext cx="773115" cy="773115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5B567552-B92F-524A-8D11-829032F21581}"/>
              </a:ext>
            </a:extLst>
          </p:cNvPr>
          <p:cNvSpPr/>
          <p:nvPr/>
        </p:nvSpPr>
        <p:spPr>
          <a:xfrm>
            <a:off x="17072" y="2814637"/>
            <a:ext cx="9469828" cy="3986212"/>
          </a:xfrm>
          <a:prstGeom prst="rect">
            <a:avLst/>
          </a:prstGeom>
          <a:noFill/>
          <a:ln>
            <a:solidFill>
              <a:srgbClr val="AEC9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7" name="Grafik 146">
            <a:extLst>
              <a:ext uri="{FF2B5EF4-FFF2-40B4-BE49-F238E27FC236}">
                <a16:creationId xmlns:a16="http://schemas.microsoft.com/office/drawing/2014/main" id="{DA06B25C-ADD7-2443-BF9D-E7AE0F00FD1B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70510" r="10274"/>
          <a:stretch/>
        </p:blipFill>
        <p:spPr>
          <a:xfrm>
            <a:off x="8875322" y="3951609"/>
            <a:ext cx="1671643" cy="295783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061F7D49-8178-AC4D-8FCB-34BD0C20D160}"/>
              </a:ext>
            </a:extLst>
          </p:cNvPr>
          <p:cNvSpPr/>
          <p:nvPr/>
        </p:nvSpPr>
        <p:spPr>
          <a:xfrm>
            <a:off x="10129838" y="6215070"/>
            <a:ext cx="436971" cy="396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5520F65-8B32-2544-AD82-BF2420A157B2}"/>
              </a:ext>
            </a:extLst>
          </p:cNvPr>
          <p:cNvSpPr/>
          <p:nvPr/>
        </p:nvSpPr>
        <p:spPr>
          <a:xfrm>
            <a:off x="9722793" y="2814637"/>
            <a:ext cx="2364432" cy="3986212"/>
          </a:xfrm>
          <a:prstGeom prst="rect">
            <a:avLst/>
          </a:prstGeom>
          <a:noFill/>
          <a:ln>
            <a:solidFill>
              <a:srgbClr val="8B39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7D9F683-21D5-7B4A-9EDA-B0A3F021CD1D}"/>
              </a:ext>
            </a:extLst>
          </p:cNvPr>
          <p:cNvSpPr txBox="1"/>
          <p:nvPr/>
        </p:nvSpPr>
        <p:spPr>
          <a:xfrm>
            <a:off x="3380378" y="2940385"/>
            <a:ext cx="374614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b="1" dirty="0"/>
              <a:t>Enorme Fortschritte bei Datenerhebung und Modellierung 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A48B4BE-385F-0746-90DF-B4AE351E2914}"/>
              </a:ext>
            </a:extLst>
          </p:cNvPr>
          <p:cNvSpPr txBox="1"/>
          <p:nvPr/>
        </p:nvSpPr>
        <p:spPr>
          <a:xfrm>
            <a:off x="10256995" y="2934345"/>
            <a:ext cx="235466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b="1" dirty="0"/>
              <a:t>Unscharfe Target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3585DE6-377C-9041-8A4F-74F29D719B7E}"/>
              </a:ext>
            </a:extLst>
          </p:cNvPr>
          <p:cNvSpPr txBox="1"/>
          <p:nvPr/>
        </p:nvSpPr>
        <p:spPr>
          <a:xfrm>
            <a:off x="9836617" y="3279466"/>
            <a:ext cx="2354668" cy="144655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b="1" dirty="0" err="1"/>
              <a:t>ToDo‘s</a:t>
            </a:r>
            <a:r>
              <a:rPr lang="de-DE" sz="1100" b="1" dirty="0"/>
              <a:t> bei Messung von Erfolg:</a:t>
            </a:r>
          </a:p>
          <a:p>
            <a:endParaRPr lang="de-DE" sz="11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Krankheitskonzept und Klassifik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Undifferenzierte Symptommaß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Zeitliche Auflös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Unterkomplexe Interaktio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100" b="1" dirty="0"/>
          </a:p>
        </p:txBody>
      </p:sp>
    </p:spTree>
    <p:extLst>
      <p:ext uri="{BB962C8B-B14F-4D97-AF65-F5344CB8AC3E}">
        <p14:creationId xmlns:p14="http://schemas.microsoft.com/office/powerpoint/2010/main" val="1992299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</Words>
  <Application>Microsoft Macintosh PowerPoint</Application>
  <PresentationFormat>Breitbild</PresentationFormat>
  <Paragraphs>10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Cambria Math</vt:lpstr>
      <vt:lpstr>Office</vt:lpstr>
      <vt:lpstr>think-cell Foli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ephan Goerigk</dc:creator>
  <cp:lastModifiedBy>Stephan Goerigk</cp:lastModifiedBy>
  <cp:revision>5</cp:revision>
  <dcterms:created xsi:type="dcterms:W3CDTF">2023-11-17T06:20:18Z</dcterms:created>
  <dcterms:modified xsi:type="dcterms:W3CDTF">2023-11-17T09:51:24Z</dcterms:modified>
</cp:coreProperties>
</file>